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95" r:id="rId2"/>
    <p:sldId id="296" r:id="rId3"/>
    <p:sldId id="299" r:id="rId4"/>
    <p:sldId id="305" r:id="rId5"/>
    <p:sldId id="306" r:id="rId6"/>
    <p:sldId id="307" r:id="rId7"/>
    <p:sldId id="308" r:id="rId8"/>
    <p:sldId id="309" r:id="rId9"/>
    <p:sldId id="310" r:id="rId10"/>
    <p:sldId id="304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32" autoAdjust="0"/>
    <p:restoredTop sz="94934" autoAdjust="0"/>
  </p:normalViewPr>
  <p:slideViewPr>
    <p:cSldViewPr snapToGrid="0" showGuides="1">
      <p:cViewPr varScale="1">
        <p:scale>
          <a:sx n="70" d="100"/>
          <a:sy n="70" d="100"/>
        </p:scale>
        <p:origin x="804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3648C8D8-D520-F35B-B4CD-966616EA0F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098" y="3577676"/>
            <a:ext cx="3600953" cy="1428949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C8FE0E41-8511-1595-EC2B-CD1A47C127E1}"/>
              </a:ext>
            </a:extLst>
          </p:cNvPr>
          <p:cNvSpPr/>
          <p:nvPr/>
        </p:nvSpPr>
        <p:spPr>
          <a:xfrm>
            <a:off x="4061871" y="383048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026" name="Picture 2" descr="Rust Logo PNG Vector (SVG) Free Download">
            <a:extLst>
              <a:ext uri="{FF2B5EF4-FFF2-40B4-BE49-F238E27FC236}">
                <a16:creationId xmlns:a16="http://schemas.microsoft.com/office/drawing/2014/main" id="{87DEE26B-94E5-2B54-5D17-0C1E87961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849" y="3162301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0D60A6A3-80FB-CDDD-B4D3-24B8507AC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101" y="2492507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14CF4476-D250-89A7-DE4B-481BEAB28FCD}"/>
              </a:ext>
            </a:extLst>
          </p:cNvPr>
          <p:cNvSpPr txBox="1"/>
          <p:nvPr/>
        </p:nvSpPr>
        <p:spPr>
          <a:xfrm>
            <a:off x="7536330" y="379879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5400" dirty="0"/>
              <a:t>We are </a:t>
            </a:r>
            <a:r>
              <a:rPr lang="en-US" altLang="zh-CN" sz="5400" dirty="0" err="1"/>
              <a:t>mustrust</a:t>
            </a:r>
            <a:r>
              <a:rPr lang="en-US" altLang="zh-CN" sz="5400" dirty="0"/>
              <a:t>!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项目介绍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技术依据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354177" y="4729917"/>
            <a:ext cx="3629159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创新点与前景分析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8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存在的问题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空指针引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释放内存后再使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返回悬空指针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超出访问权限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000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所有权机制（</a:t>
            </a:r>
            <a:r>
              <a:rPr lang="en-US" altLang="zh-CN" dirty="0" err="1"/>
              <a:t>Owership</a:t>
            </a:r>
            <a:r>
              <a:rPr lang="zh-CN" altLang="en-US" dirty="0"/>
              <a:t>）</a:t>
            </a:r>
            <a:r>
              <a:rPr lang="en-US" altLang="zh-CN" dirty="0"/>
              <a:t>(C++ </a:t>
            </a:r>
            <a:r>
              <a:rPr lang="en-US" altLang="zh-CN" dirty="0" err="1"/>
              <a:t>unique_ptr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严格的要求与详细的错误信息处理潜在的错误</a:t>
            </a:r>
            <a:endParaRPr lang="en-US" altLang="zh-CN" dirty="0"/>
          </a:p>
          <a:p>
            <a:r>
              <a:rPr lang="en-US" altLang="zh-CN" dirty="0"/>
              <a:t>——</a:t>
            </a:r>
            <a:r>
              <a:rPr lang="zh-CN" altLang="en-US" dirty="0"/>
              <a:t>在编译时报错解决潜在的问题要比在运行时出现问题找</a:t>
            </a:r>
            <a:r>
              <a:rPr lang="en-US" altLang="zh-CN" dirty="0"/>
              <a:t>bug</a:t>
            </a:r>
            <a:r>
              <a:rPr lang="zh-CN" altLang="en-US" dirty="0"/>
              <a:t>友好得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强大的</a:t>
            </a:r>
            <a:r>
              <a:rPr lang="en-US" altLang="zh-CN" dirty="0"/>
              <a:t>Car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帮组我们管理项目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不同操作系统上的命令相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BB2EB9C-F07F-AB3A-F143-59CE4F323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325" y="3797844"/>
            <a:ext cx="4923416" cy="26537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F7C8C8D-3689-7C8F-3457-34427572C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6" y="3630978"/>
            <a:ext cx="4073847" cy="29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6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AE56A2-655B-9400-B71B-AD339328C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尝试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写链表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44E3A-5961-765A-87EA-F6F2946A9AEF}"/>
              </a:ext>
            </a:extLst>
          </p:cNvPr>
          <p:cNvSpPr txBox="1"/>
          <p:nvPr/>
        </p:nvSpPr>
        <p:spPr>
          <a:xfrm>
            <a:off x="696036" y="1619562"/>
            <a:ext cx="1005157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/>
              <a:t>Box</a:t>
            </a:r>
            <a:r>
              <a:rPr lang="zh-CN" altLang="en-US" sz="2800" dirty="0"/>
              <a:t>智能指针：</a:t>
            </a:r>
            <a:r>
              <a:rPr lang="zh-CN" altLang="en-US" sz="2800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-apple-system"/>
              </a:rPr>
              <a:t>同一时刻只能有一个可变引用</a:t>
            </a:r>
            <a:endParaRPr lang="en-US" altLang="zh-CN" sz="2800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8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/>
              <a:t>Option</a:t>
            </a:r>
            <a:r>
              <a:rPr lang="zh-CN" altLang="en-US" sz="2800" dirty="0"/>
              <a:t>枚举</a:t>
            </a:r>
            <a:endParaRPr lang="en-US" altLang="zh-CN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8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s_ref</a:t>
            </a:r>
            <a:r>
              <a:rPr lang="en-US" altLang="zh-CN" sz="2800" dirty="0"/>
              <a:t>()</a:t>
            </a:r>
            <a:r>
              <a:rPr lang="zh-CN" altLang="en-US" sz="2800" dirty="0"/>
              <a:t>与</a:t>
            </a:r>
            <a:r>
              <a:rPr lang="en-US" altLang="zh-CN" sz="2800" dirty="0" err="1"/>
              <a:t>as_mut</a:t>
            </a:r>
            <a:r>
              <a:rPr lang="en-US" altLang="zh-CN" sz="2800" dirty="0"/>
              <a:t>()</a:t>
            </a:r>
            <a:r>
              <a:rPr lang="zh-CN" altLang="en-US" sz="2800" dirty="0"/>
              <a:t>方法</a:t>
            </a:r>
            <a:endParaRPr lang="en-US" altLang="zh-CN" sz="28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800" dirty="0"/>
          </a:p>
        </p:txBody>
      </p:sp>
    </p:spTree>
    <p:extLst>
      <p:ext uri="{BB962C8B-B14F-4D97-AF65-F5344CB8AC3E}">
        <p14:creationId xmlns:p14="http://schemas.microsoft.com/office/powerpoint/2010/main" val="3810220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A309A-426E-1CB4-DFE5-D9C34930C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定义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39B509-4633-E656-7C0F-95BE2EBF6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56" y="1650190"/>
            <a:ext cx="6061214" cy="381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336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30E579-EED2-6AC3-B7D5-AA868165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常用方法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0B56798-4940-8919-9F22-4CE30A8A5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42" y="1295400"/>
            <a:ext cx="4628773" cy="526234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4C41C31C-07DD-D64D-DD54-FEB70FEA7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7820" y="1295400"/>
            <a:ext cx="4815546" cy="5262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54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BCFFE4-8CDF-A264-08B5-791E35BCD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测试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DAF93A2-8484-5EC7-AFDD-BC475EEA1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113" y="4502858"/>
            <a:ext cx="6886866" cy="195657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282AD2F5-6383-6230-C6E2-F792D55C6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113" y="1216189"/>
            <a:ext cx="6068000" cy="3250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628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4</TotalTime>
  <Words>428</Words>
  <Application>Microsoft Office PowerPoint</Application>
  <PresentationFormat>宽屏</PresentationFormat>
  <Paragraphs>56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-apple-system</vt:lpstr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项目介绍——Rust</vt:lpstr>
      <vt:lpstr>为什么要选择Rust</vt:lpstr>
      <vt:lpstr>为什么要选择Rust</vt:lpstr>
      <vt:lpstr>技术依据——尝试用Rust写链表</vt:lpstr>
      <vt:lpstr>技术依据——Rust链表的定义</vt:lpstr>
      <vt:lpstr>技术依据——Rust链表的常用方法</vt:lpstr>
      <vt:lpstr>技术依据——Rust链表的测试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震宇 薄</cp:lastModifiedBy>
  <cp:revision>187</cp:revision>
  <dcterms:created xsi:type="dcterms:W3CDTF">2019-08-16T12:08:31Z</dcterms:created>
  <dcterms:modified xsi:type="dcterms:W3CDTF">2024-04-22T03:05:57Z</dcterms:modified>
</cp:coreProperties>
</file>